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0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32-40AA-9413-65BE63A93C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32-40AA-9413-65BE63A93C7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32-40AA-9413-65BE63A93C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FD5-4850-81DD-84E2D74C5D9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FD5-4850-81DD-84E2D74C5D9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FD5-4850-81DD-84E2D74C5D9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FD5-4850-81DD-84E2D74C5D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8FAA8-6B90-C080-15CD-53DD03EED8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00A849E-55FF-EF77-E86F-872948E074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0A849E-55FF-EF77-E86F-872948E07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C4F5F820-F683-1585-BC86-490FF6A19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ie / Stack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5D4E413-9401-AAE4-65B1-1896D6723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591DFFB1-95D3-9870-30C5-C11D7B0A88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FEB56FF-37ED-0BE0-7AC7-3634AABCB3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1AD4829-FB86-6A9B-6885-0FB1D97B2B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6" name="Chart Placeholder 12">
            <a:extLst>
              <a:ext uri="{FF2B5EF4-FFF2-40B4-BE49-F238E27FC236}">
                <a16:creationId xmlns:a16="http://schemas.microsoft.com/office/drawing/2014/main" id="{BC4C61DF-408E-BD4D-9402-019AC6200431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32">
            <a:extLst>
              <a:ext uri="{FF2B5EF4-FFF2-40B4-BE49-F238E27FC236}">
                <a16:creationId xmlns:a16="http://schemas.microsoft.com/office/drawing/2014/main" id="{98824AEB-9599-17FD-75B9-6BA58E7F7E4C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79217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6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Pie / Stack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78</cp:revision>
  <dcterms:created xsi:type="dcterms:W3CDTF">2025-07-09T10:57:17Z</dcterms:created>
  <dcterms:modified xsi:type="dcterms:W3CDTF">2025-10-22T10:11:24Z</dcterms:modified>
  <cp:category/>
</cp:coreProperties>
</file>